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3"/>
  </p:notesMasterIdLst>
  <p:sldIdLst>
    <p:sldId id="382" r:id="rId2"/>
  </p:sldIdLst>
  <p:sldSz cx="12192000" cy="6858000"/>
  <p:notesSz cx="6858000" cy="9945688"/>
  <p:embeddedFontLst>
    <p:embeddedFont>
      <p:font typeface="Rubik" panose="00000500000000000000" pitchFamily="50" charset="-79"/>
      <p:regular r:id="rId4"/>
      <p:bold r:id="rId5"/>
      <p:italic r:id="rId6"/>
    </p:embeddedFont>
  </p:embeddedFontLst>
  <p:custDataLst>
    <p:tags r:id="rId7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howGuides="1">
      <p:cViewPr varScale="1">
        <p:scale>
          <a:sx n="103" d="100"/>
          <a:sy n="103" d="100"/>
        </p:scale>
        <p:origin x="138" y="3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notesMaster" Target="notesMasters/notesMaster1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3.fntdata"/><Relationship Id="rId11" Type="http://schemas.openxmlformats.org/officeDocument/2006/relationships/tableStyles" Target="tableStyles.xml"/><Relationship Id="rId5" Type="http://schemas.openxmlformats.org/officeDocument/2006/relationships/font" Target="fonts/font2.fntdata"/><Relationship Id="rId10" Type="http://schemas.openxmlformats.org/officeDocument/2006/relationships/theme" Target="theme/theme1.xml"/><Relationship Id="rId4" Type="http://schemas.openxmlformats.org/officeDocument/2006/relationships/font" Target="fonts/font1.fntdata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90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90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8/31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44500" y="1243013"/>
            <a:ext cx="5969000" cy="3357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786362"/>
            <a:ext cx="5486400" cy="391611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6678"/>
            <a:ext cx="2971800" cy="4990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9446678"/>
            <a:ext cx="2971800" cy="4990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8/31/2021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8/31/2021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8/31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8/31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8/31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8/31/2021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8/31/2021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8/31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8/31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8/31/2021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8/31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8/31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8/31/2021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8/31/2021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8/31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8/31/2021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8/31/2021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8/31/2021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8D48C37-8849-42D0-8DAF-23D70BA07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680EC1-C94A-4D15-9CD6-E54FC46E9C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207F2B-EA62-43D5-B587-B2F948324A2C}"/>
              </a:ext>
            </a:extLst>
          </p:cNvPr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78" y="1025816"/>
            <a:ext cx="1800000" cy="180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23CB768-B29E-48AE-9371-AD2B075BABFA}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1252" y="1049751"/>
            <a:ext cx="1800000" cy="180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6222D54-1720-4932-9536-C5E8BDEB8740}"/>
              </a:ext>
            </a:extLst>
          </p:cNvPr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2701" y="1025816"/>
            <a:ext cx="1800000" cy="180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FE79512-E153-4CDF-997E-05C5FCAC56BE}"/>
              </a:ext>
            </a:extLst>
          </p:cNvPr>
          <p:cNvPicPr/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6539" y="1025816"/>
            <a:ext cx="1800000" cy="180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11D2D8F-74C1-4A8C-BCD9-CA89D417C821}"/>
              </a:ext>
            </a:extLst>
          </p:cNvPr>
          <p:cNvPicPr/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0377" y="1025816"/>
            <a:ext cx="1800000" cy="180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88487B4-7A5E-42F6-8A21-ABAF765D8CAC}"/>
              </a:ext>
            </a:extLst>
          </p:cNvPr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521" y="3782608"/>
            <a:ext cx="1800000" cy="180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894E8D5-42AC-49A3-8B9A-B1A08B7DBF83}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9359" y="3746604"/>
            <a:ext cx="1800000" cy="180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1F9B93BD-0DD9-42D4-9DE9-93B981A808C9}"/>
              </a:ext>
            </a:extLst>
          </p:cNvPr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2444" y="3782608"/>
            <a:ext cx="1800000" cy="180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DD071F5-39FA-41FF-9654-4A47B6B8AE08}"/>
              </a:ext>
            </a:extLst>
          </p:cNvPr>
          <p:cNvPicPr/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6282" y="3782608"/>
            <a:ext cx="1800000" cy="180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EDD7D710-3D28-4856-97A0-EF846399DAAD}"/>
              </a:ext>
            </a:extLst>
          </p:cNvPr>
          <p:cNvPicPr/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0120" y="3782608"/>
            <a:ext cx="1800000" cy="180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73806580-8D98-4842-9621-2C62AEF6F13B}"/>
              </a:ext>
            </a:extLst>
          </p:cNvPr>
          <p:cNvSpPr txBox="1"/>
          <p:nvPr/>
        </p:nvSpPr>
        <p:spPr>
          <a:xfrm>
            <a:off x="6182468" y="220662"/>
            <a:ext cx="983814" cy="472034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l" defTabSz="972000">
              <a:lnSpc>
                <a:spcPct val="120000"/>
              </a:lnSpc>
              <a:spcAft>
                <a:spcPts val="765"/>
              </a:spcAft>
            </a:pPr>
            <a:endParaRPr lang="en-GB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A02BB7E-385D-4899-82E5-33B2F9F7090C}"/>
              </a:ext>
            </a:extLst>
          </p:cNvPr>
          <p:cNvGrpSpPr/>
          <p:nvPr/>
        </p:nvGrpSpPr>
        <p:grpSpPr>
          <a:xfrm>
            <a:off x="1638376" y="69024"/>
            <a:ext cx="1544304" cy="1544304"/>
            <a:chOff x="455778" y="-14896"/>
            <a:chExt cx="1544304" cy="1544304"/>
          </a:xfrm>
        </p:grpSpPr>
        <p:pic>
          <p:nvPicPr>
            <p:cNvPr id="24" name="Graphic 23" descr="Right pointing backhand index with solid fill">
              <a:extLst>
                <a:ext uri="{FF2B5EF4-FFF2-40B4-BE49-F238E27FC236}">
                  <a16:creationId xmlns:a16="http://schemas.microsoft.com/office/drawing/2014/main" id="{00DBD8A2-A5C0-4E6F-95BB-D5113D59CFB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455778" y="-14896"/>
              <a:ext cx="1544304" cy="1544304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17DCC979-0D46-4FBE-9ACD-98CB40F12EC4}"/>
                </a:ext>
              </a:extLst>
            </p:cNvPr>
            <p:cNvSpPr txBox="1"/>
            <p:nvPr/>
          </p:nvSpPr>
          <p:spPr>
            <a:xfrm>
              <a:off x="960158" y="332656"/>
              <a:ext cx="446387" cy="424600"/>
            </a:xfrm>
            <a:prstGeom prst="rect">
              <a:avLst/>
            </a:prstGeom>
            <a:ln w="28575">
              <a:noFill/>
            </a:ln>
          </p:spPr>
          <p:txBody>
            <a:bodyPr vert="horz" wrap="square" lIns="0" tIns="0" rIns="0" bIns="0" rtlCol="0">
              <a:noAutofit/>
            </a:bodyPr>
            <a:lstStyle/>
            <a:p>
              <a:pPr algn="l" defTabSz="972000">
                <a:lnSpc>
                  <a:spcPct val="120000"/>
                </a:lnSpc>
                <a:spcAft>
                  <a:spcPts val="765"/>
                </a:spcAft>
              </a:pPr>
              <a:r>
                <a:rPr lang="en-US" dirty="0">
                  <a:solidFill>
                    <a:schemeClr val="bg1"/>
                  </a:solidFill>
                </a:rPr>
                <a:t>ME</a:t>
              </a:r>
              <a:endParaRPr lang="en-GB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A381F24-8AAF-405C-9060-80920C43E8D8}"/>
              </a:ext>
            </a:extLst>
          </p:cNvPr>
          <p:cNvGrpSpPr/>
          <p:nvPr/>
        </p:nvGrpSpPr>
        <p:grpSpPr>
          <a:xfrm>
            <a:off x="6224925" y="5330998"/>
            <a:ext cx="1544304" cy="1544304"/>
            <a:chOff x="6010292" y="5445223"/>
            <a:chExt cx="1544304" cy="1544304"/>
          </a:xfrm>
        </p:grpSpPr>
        <p:pic>
          <p:nvPicPr>
            <p:cNvPr id="28" name="Graphic 27" descr="Right pointing backhand index with solid fill">
              <a:extLst>
                <a:ext uri="{FF2B5EF4-FFF2-40B4-BE49-F238E27FC236}">
                  <a16:creationId xmlns:a16="http://schemas.microsoft.com/office/drawing/2014/main" id="{98954709-35EA-43A7-911E-BC9778CEBB6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16200000">
              <a:off x="6010292" y="5445223"/>
              <a:ext cx="1544304" cy="1544304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24E5B7B-C685-4EDB-A92B-62AD5D1470BD}"/>
                </a:ext>
              </a:extLst>
            </p:cNvPr>
            <p:cNvSpPr txBox="1"/>
            <p:nvPr/>
          </p:nvSpPr>
          <p:spPr>
            <a:xfrm>
              <a:off x="6575192" y="6243916"/>
              <a:ext cx="609233" cy="424600"/>
            </a:xfrm>
            <a:prstGeom prst="rect">
              <a:avLst/>
            </a:prstGeom>
            <a:ln w="28575">
              <a:noFill/>
            </a:ln>
          </p:spPr>
          <p:txBody>
            <a:bodyPr vert="horz" wrap="square" lIns="0" tIns="0" rIns="0" bIns="0" rtlCol="0">
              <a:noAutofit/>
            </a:bodyPr>
            <a:lstStyle/>
            <a:p>
              <a:pPr algn="l" defTabSz="972000">
                <a:lnSpc>
                  <a:spcPct val="120000"/>
                </a:lnSpc>
                <a:spcAft>
                  <a:spcPts val="765"/>
                </a:spcAft>
              </a:pPr>
              <a:r>
                <a:rPr lang="en-US" dirty="0">
                  <a:solidFill>
                    <a:schemeClr val="bg1"/>
                  </a:solidFill>
                </a:rPr>
                <a:t>THEM</a:t>
              </a:r>
              <a:endParaRPr lang="en-GB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81246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10.05.2021 07:59:37.124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A0E035F8-873D-4C52-889F-46F76F45A30C}" vid="{4ABDD790-5BFF-4FB8-8265-57ACB655E75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97</TotalTime>
  <Words>22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Rubik</vt:lpstr>
      <vt:lpstr>Wingdings</vt:lpstr>
      <vt:lpstr>Symbol</vt:lpstr>
      <vt:lpstr>Software AG 2021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utt, Shabeena</dc:creator>
  <cp:lastModifiedBy>Butt, Shabeena</cp:lastModifiedBy>
  <cp:revision>2</cp:revision>
  <cp:lastPrinted>2021-08-31T13:10:29Z</cp:lastPrinted>
  <dcterms:created xsi:type="dcterms:W3CDTF">2021-08-31T13:07:38Z</dcterms:created>
  <dcterms:modified xsi:type="dcterms:W3CDTF">2021-08-31T14:45:32Z</dcterms:modified>
</cp:coreProperties>
</file>